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39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39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telli Chiara" initials="CC" lastIdx="1" clrIdx="0">
    <p:extLst>
      <p:ext uri="{19B8F6BF-5375-455C-9EA6-DF929625EA0E}">
        <p15:presenceInfo xmlns:p15="http://schemas.microsoft.com/office/powerpoint/2012/main" userId="S-1-5-21-417365229-399659180-1714775081-44684" providerId="AD"/>
      </p:ext>
    </p:extLst>
  </p:cmAuthor>
  <p:cmAuthor id="2" name="Sacchi Matteo" initials="SM" lastIdx="1" clrIdx="1">
    <p:extLst>
      <p:ext uri="{19B8F6BF-5375-455C-9EA6-DF929625EA0E}">
        <p15:presenceInfo xmlns:p15="http://schemas.microsoft.com/office/powerpoint/2012/main" userId="S-1-5-21-417365229-399659180-1714775081-184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8C"/>
    <a:srgbClr val="FFCB25"/>
    <a:srgbClr val="92D050"/>
    <a:srgbClr val="6BDD43"/>
    <a:srgbClr val="2777F9"/>
    <a:srgbClr val="FFC000"/>
    <a:srgbClr val="F3F672"/>
    <a:srgbClr val="2FB0F1"/>
    <a:srgbClr val="FAF02A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74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816" y="60"/>
      </p:cViewPr>
      <p:guideLst>
        <p:guide orient="horz" pos="2115"/>
        <p:guide pos="3817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0_Tavole%20per%20Insigt%20-%20Novembre%20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1_Grafico%20Settore%20merceologico%20-%20Mensile%20e%20Progressivo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1_Grafico%20Settore%20merceologico%20-%20Mensile%20e%20Progressivo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0_Tavole%20per%20Insigt%20-%20Novembre%202018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0_Tavole%20per%20Insigt%20-%20Novembre%20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0_Tavole%20per%20Insigt%20-%20Novembre%202018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1.%20Novembre%202018\File%20di%20Lavoro\10_Tavole%20per%20Insigt%20-%20Novembre%202018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7.%20Luglio%202018\File%20di%20Lavoro\09_Grafici%20Video%20e%20Modalit&#224;%20di%20Vendi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3.%20Marzo%202018\File%20di%20Lavoro\09_Grafici%20Video%20e%20Modalit&#224;%20di%20Vendi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 % di ciascun Devic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Foglio2!$B$11</c:f>
              <c:strCache>
                <c:ptCount val="1"/>
                <c:pt idx="0">
                  <c:v>Desktop/Tablet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2!$B$12:$B$13</c:f>
              <c:numCache>
                <c:formatCode>0.00%</c:formatCode>
                <c:ptCount val="2"/>
                <c:pt idx="0">
                  <c:v>0.73030524623036308</c:v>
                </c:pt>
                <c:pt idx="1">
                  <c:v>0.795408566092543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CB-4FD0-B30E-86DB1CD887D7}"/>
            </c:ext>
          </c:extLst>
        </c:ser>
        <c:ser>
          <c:idx val="1"/>
          <c:order val="1"/>
          <c:tx>
            <c:strRef>
              <c:f>Foglio2!$C$11</c:f>
              <c:strCache>
                <c:ptCount val="1"/>
                <c:pt idx="0">
                  <c:v>Smart 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glio2!$A$12:$A$13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2!$C$12:$C$13</c:f>
              <c:numCache>
                <c:formatCode>0.00%</c:formatCode>
                <c:ptCount val="2"/>
                <c:pt idx="0">
                  <c:v>2.5692688815566389E-3</c:v>
                </c:pt>
                <c:pt idx="1">
                  <c:v>7.5983774351902366E-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ACB-4FD0-B30E-86DB1CD887D7}"/>
            </c:ext>
          </c:extLst>
        </c:ser>
        <c:ser>
          <c:idx val="2"/>
          <c:order val="2"/>
          <c:tx>
            <c:strRef>
              <c:f>Foglio2!$D$11</c:f>
              <c:strCache>
                <c:ptCount val="1"/>
                <c:pt idx="0">
                  <c:v>Smartphon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2!$D$12:$D$13</c:f>
              <c:numCache>
                <c:formatCode>0.00%</c:formatCode>
                <c:ptCount val="2"/>
                <c:pt idx="0">
                  <c:v>0.26712548488808024</c:v>
                </c:pt>
                <c:pt idx="1">
                  <c:v>0.203831596163937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ACB-4FD0-B30E-86DB1CD887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3725576"/>
        <c:axId val="133725968"/>
      </c:barChart>
      <c:catAx>
        <c:axId val="133725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3725968"/>
        <c:crosses val="autoZero"/>
        <c:auto val="1"/>
        <c:lblAlgn val="ctr"/>
        <c:lblOffset val="100"/>
        <c:noMultiLvlLbl val="0"/>
      </c:catAx>
      <c:valAx>
        <c:axId val="13372596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33725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5386514630996759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MENSILE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MENSILE'!$A$3:$F$29</c:f>
              <c:multiLvlStrCache>
                <c:ptCount val="27"/>
                <c:lvl>
                  <c:pt idx="0">
                    <c:v>Varie</c:v>
                  </c:pt>
                  <c:pt idx="1">
                    <c:v>Automobili</c:v>
                  </c:pt>
                  <c:pt idx="2">
                    <c:v>Media/Editoria</c:v>
                  </c:pt>
                  <c:pt idx="3">
                    <c:v>Finanza/Assicurazioni</c:v>
                  </c:pt>
                  <c:pt idx="4">
                    <c:v>Abbigliamento</c:v>
                  </c:pt>
                  <c:pt idx="5">
                    <c:v>Servizi Professionali</c:v>
                  </c:pt>
                  <c:pt idx="6">
                    <c:v>Alimentari</c:v>
                  </c:pt>
                  <c:pt idx="7">
                    <c:v>Distribuzione</c:v>
                  </c:pt>
                  <c:pt idx="8">
                    <c:v>Telecomunicazioni</c:v>
                  </c:pt>
                  <c:pt idx="9">
                    <c:v>Industria/Edilizia/Attività</c:v>
                  </c:pt>
                  <c:pt idx="10">
                    <c:v>Informatica/Fotografia</c:v>
                  </c:pt>
                  <c:pt idx="11">
                    <c:v>Locale</c:v>
                  </c:pt>
                  <c:pt idx="12">
                    <c:v>Cura persona</c:v>
                  </c:pt>
                  <c:pt idx="13">
                    <c:v>Enti/Istituzioni</c:v>
                  </c:pt>
                  <c:pt idx="14">
                    <c:v>Farmaceutici/Sanitari</c:v>
                  </c:pt>
                  <c:pt idx="15">
                    <c:v>Tempo libero</c:v>
                  </c:pt>
                  <c:pt idx="16">
                    <c:v>Elettrodomestici</c:v>
                  </c:pt>
                  <c:pt idx="17">
                    <c:v>Bevande/Alcoolici</c:v>
                  </c:pt>
                  <c:pt idx="18">
                    <c:v>Turismo/Viaggi</c:v>
                  </c:pt>
                  <c:pt idx="19">
                    <c:v>Oggetti personali</c:v>
                  </c:pt>
                  <c:pt idx="20">
                    <c:v>Giochi/Articoli scolastici</c:v>
                  </c:pt>
                  <c:pt idx="21">
                    <c:v>Abitazione</c:v>
                  </c:pt>
                  <c:pt idx="22">
                    <c:v>Gestione casa</c:v>
                  </c:pt>
                  <c:pt idx="23">
                    <c:v>Di Servizio</c:v>
                  </c:pt>
                  <c:pt idx="24">
                    <c:v>Toiletries</c:v>
                  </c:pt>
                  <c:pt idx="25">
                    <c:v>Moto/Veicoli</c:v>
                  </c:pt>
                  <c:pt idx="26">
                    <c:v>Rubricata</c:v>
                  </c:pt>
                </c:lvl>
                <c:lvl>
                  <c:pt idx="0">
                    <c:v>6%</c:v>
                  </c:pt>
                  <c:pt idx="1">
                    <c:v>1%</c:v>
                  </c:pt>
                  <c:pt idx="2">
                    <c:v>6%</c:v>
                  </c:pt>
                  <c:pt idx="3">
                    <c:v>13%</c:v>
                  </c:pt>
                  <c:pt idx="4">
                    <c:v>2%</c:v>
                  </c:pt>
                  <c:pt idx="5">
                    <c:v>2%</c:v>
                  </c:pt>
                  <c:pt idx="6">
                    <c:v>5%</c:v>
                  </c:pt>
                  <c:pt idx="7">
                    <c:v>2%</c:v>
                  </c:pt>
                  <c:pt idx="8">
                    <c:v>2%</c:v>
                  </c:pt>
                  <c:pt idx="9">
                    <c:v>2%</c:v>
                  </c:pt>
                  <c:pt idx="10">
                    <c:v>7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4%</c:v>
                  </c:pt>
                  <c:pt idx="14">
                    <c:v>3%</c:v>
                  </c:pt>
                  <c:pt idx="15">
                    <c:v>9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4%</c:v>
                  </c:pt>
                  <c:pt idx="20">
                    <c:v>2%</c:v>
                  </c:pt>
                  <c:pt idx="21">
                    <c:v>0%</c:v>
                  </c:pt>
                  <c:pt idx="22">
                    <c:v>2%</c:v>
                  </c:pt>
                  <c:pt idx="23">
                    <c:v>16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6%</c:v>
                  </c:pt>
                  <c:pt idx="1">
                    <c:v>1%</c:v>
                  </c:pt>
                  <c:pt idx="2">
                    <c:v>7%</c:v>
                  </c:pt>
                  <c:pt idx="3">
                    <c:v>16%</c:v>
                  </c:pt>
                  <c:pt idx="4">
                    <c:v>2%</c:v>
                  </c:pt>
                  <c:pt idx="5">
                    <c:v>3%</c:v>
                  </c:pt>
                  <c:pt idx="6">
                    <c:v>5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7%</c:v>
                  </c:pt>
                  <c:pt idx="11">
                    <c:v>2%</c:v>
                  </c:pt>
                  <c:pt idx="12">
                    <c:v>1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10%</c:v>
                  </c:pt>
                  <c:pt idx="16">
                    <c:v>0%</c:v>
                  </c:pt>
                  <c:pt idx="17">
                    <c:v>2%</c:v>
                  </c:pt>
                  <c:pt idx="18">
                    <c:v>5%</c:v>
                  </c:pt>
                  <c:pt idx="19">
                    <c:v>5%</c:v>
                  </c:pt>
                  <c:pt idx="20">
                    <c:v>2%</c:v>
                  </c:pt>
                  <c:pt idx="21">
                    <c:v>1%</c:v>
                  </c:pt>
                  <c:pt idx="22">
                    <c:v>2%</c:v>
                  </c:pt>
                  <c:pt idx="23">
                    <c:v>10%</c:v>
                  </c:pt>
                  <c:pt idx="24">
                    <c:v>2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MENSILE'!$H$3:$H$29</c:f>
              <c:numCache>
                <c:formatCode>0.0%</c:formatCode>
                <c:ptCount val="27"/>
                <c:pt idx="0">
                  <c:v>0.15975335495941007</c:v>
                </c:pt>
                <c:pt idx="1">
                  <c:v>0.13280715307566876</c:v>
                </c:pt>
                <c:pt idx="2">
                  <c:v>8.9872915859549068E-2</c:v>
                </c:pt>
                <c:pt idx="3">
                  <c:v>6.548225610148721E-2</c:v>
                </c:pt>
                <c:pt idx="4">
                  <c:v>6.3319663238525795E-2</c:v>
                </c:pt>
                <c:pt idx="5">
                  <c:v>5.8929362153323936E-2</c:v>
                </c:pt>
                <c:pt idx="6">
                  <c:v>5.510447156924126E-2</c:v>
                </c:pt>
                <c:pt idx="7">
                  <c:v>4.8175289238890126E-2</c:v>
                </c:pt>
                <c:pt idx="8">
                  <c:v>3.8963124391021918E-2</c:v>
                </c:pt>
                <c:pt idx="9">
                  <c:v>3.5981913450464732E-2</c:v>
                </c:pt>
                <c:pt idx="10">
                  <c:v>3.0120520375191192E-2</c:v>
                </c:pt>
                <c:pt idx="11">
                  <c:v>2.7501447850251628E-2</c:v>
                </c:pt>
                <c:pt idx="12">
                  <c:v>2.3028151237306407E-2</c:v>
                </c:pt>
                <c:pt idx="13">
                  <c:v>2.1552269993173324E-2</c:v>
                </c:pt>
                <c:pt idx="14">
                  <c:v>2.0558373941534206E-2</c:v>
                </c:pt>
                <c:pt idx="15">
                  <c:v>1.9889539784112491E-2</c:v>
                </c:pt>
                <c:pt idx="16">
                  <c:v>1.9861427287916192E-2</c:v>
                </c:pt>
                <c:pt idx="17">
                  <c:v>1.865909751752445E-2</c:v>
                </c:pt>
                <c:pt idx="18">
                  <c:v>1.8421143847973626E-2</c:v>
                </c:pt>
                <c:pt idx="19">
                  <c:v>1.2961800133254075E-2</c:v>
                </c:pt>
                <c:pt idx="20">
                  <c:v>8.7397075346296732E-3</c:v>
                </c:pt>
                <c:pt idx="21">
                  <c:v>8.6445486267942989E-3</c:v>
                </c:pt>
                <c:pt idx="22">
                  <c:v>8.6066780636762617E-3</c:v>
                </c:pt>
                <c:pt idx="23">
                  <c:v>6.4488749159017115E-3</c:v>
                </c:pt>
                <c:pt idx="24">
                  <c:v>3.5676398892561471E-3</c:v>
                </c:pt>
                <c:pt idx="25">
                  <c:v>3.0247087150838746E-3</c:v>
                </c:pt>
                <c:pt idx="26">
                  <c:v>2.4566248836906313E-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0D-4A96-A769-A4D5C4857E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4023408"/>
        <c:axId val="194023800"/>
      </c:barChart>
      <c:lineChart>
        <c:grouping val="standard"/>
        <c:varyColors val="0"/>
        <c:ser>
          <c:idx val="0"/>
          <c:order val="0"/>
          <c:tx>
            <c:strRef>
              <c:f>'Grafico MENSILE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MENSILE'!$F$3:$F$29</c:f>
              <c:strCache>
                <c:ptCount val="27"/>
                <c:pt idx="0">
                  <c:v>Varie</c:v>
                </c:pt>
                <c:pt idx="1">
                  <c:v>Automobili</c:v>
                </c:pt>
                <c:pt idx="2">
                  <c:v>Media/Editoria</c:v>
                </c:pt>
                <c:pt idx="3">
                  <c:v>Finanza/Assicurazioni</c:v>
                </c:pt>
                <c:pt idx="4">
                  <c:v>Abbigliamento</c:v>
                </c:pt>
                <c:pt idx="5">
                  <c:v>Servizi Professionali</c:v>
                </c:pt>
                <c:pt idx="6">
                  <c:v>Alimentari</c:v>
                </c:pt>
                <c:pt idx="7">
                  <c:v>Distribuzione</c:v>
                </c:pt>
                <c:pt idx="8">
                  <c:v>Telecomunicazioni</c:v>
                </c:pt>
                <c:pt idx="9">
                  <c:v>Industria/Edilizia/Attività</c:v>
                </c:pt>
                <c:pt idx="10">
                  <c:v>Informatica/Fotografia</c:v>
                </c:pt>
                <c:pt idx="11">
                  <c:v>Locale</c:v>
                </c:pt>
                <c:pt idx="12">
                  <c:v>Cura persona</c:v>
                </c:pt>
                <c:pt idx="13">
                  <c:v>Enti/Istituzioni</c:v>
                </c:pt>
                <c:pt idx="14">
                  <c:v>Farmaceutici/Sanitari</c:v>
                </c:pt>
                <c:pt idx="15">
                  <c:v>Tempo libero</c:v>
                </c:pt>
                <c:pt idx="16">
                  <c:v>Elettrodomestici</c:v>
                </c:pt>
                <c:pt idx="17">
                  <c:v>Bevande/Alcoolici</c:v>
                </c:pt>
                <c:pt idx="18">
                  <c:v>Turismo/Viaggi</c:v>
                </c:pt>
                <c:pt idx="19">
                  <c:v>Oggetti personali</c:v>
                </c:pt>
                <c:pt idx="20">
                  <c:v>Giochi/Articoli scolastici</c:v>
                </c:pt>
                <c:pt idx="21">
                  <c:v>Abitazione</c:v>
                </c:pt>
                <c:pt idx="22">
                  <c:v>Gestione casa</c:v>
                </c:pt>
                <c:pt idx="23">
                  <c:v>Di Servizio</c:v>
                </c:pt>
                <c:pt idx="24">
                  <c:v>Toiletries</c:v>
                </c:pt>
                <c:pt idx="25">
                  <c:v>Moto/Veicoli</c:v>
                </c:pt>
                <c:pt idx="26">
                  <c:v>Rubricata</c:v>
                </c:pt>
              </c:strCache>
            </c:strRef>
          </c:cat>
          <c:val>
            <c:numRef>
              <c:f>'Grafico MENSILE'!$G$3:$G$29</c:f>
              <c:numCache>
                <c:formatCode>0.0%</c:formatCode>
                <c:ptCount val="27"/>
                <c:pt idx="0">
                  <c:v>9.8534627072737899E-2</c:v>
                </c:pt>
                <c:pt idx="1">
                  <c:v>0.16091004321784177</c:v>
                </c:pt>
                <c:pt idx="2">
                  <c:v>9.8811831819626023E-2</c:v>
                </c:pt>
                <c:pt idx="3">
                  <c:v>6.7111274200127677E-2</c:v>
                </c:pt>
                <c:pt idx="4">
                  <c:v>6.2808950198348132E-2</c:v>
                </c:pt>
                <c:pt idx="5">
                  <c:v>5.1935019359931736E-2</c:v>
                </c:pt>
                <c:pt idx="6">
                  <c:v>7.1118575134028486E-2</c:v>
                </c:pt>
                <c:pt idx="7">
                  <c:v>5.4242958685536871E-2</c:v>
                </c:pt>
                <c:pt idx="8">
                  <c:v>4.8830935596643921E-2</c:v>
                </c:pt>
                <c:pt idx="9">
                  <c:v>2.4781920835555402E-2</c:v>
                </c:pt>
                <c:pt idx="10">
                  <c:v>1.8840939343521081E-2</c:v>
                </c:pt>
                <c:pt idx="11">
                  <c:v>2.4811004790904208E-2</c:v>
                </c:pt>
                <c:pt idx="12">
                  <c:v>3.4211643347307134E-2</c:v>
                </c:pt>
                <c:pt idx="13">
                  <c:v>2.1406253331344365E-2</c:v>
                </c:pt>
                <c:pt idx="14">
                  <c:v>1.9709059323430388E-2</c:v>
                </c:pt>
                <c:pt idx="15">
                  <c:v>1.5733112393743736E-2</c:v>
                </c:pt>
                <c:pt idx="16">
                  <c:v>1.0223974732990283E-2</c:v>
                </c:pt>
                <c:pt idx="17">
                  <c:v>1.5766308729420621E-2</c:v>
                </c:pt>
                <c:pt idx="18">
                  <c:v>1.7825975774026927E-2</c:v>
                </c:pt>
                <c:pt idx="19">
                  <c:v>2.0169903977150492E-2</c:v>
                </c:pt>
                <c:pt idx="20">
                  <c:v>1.153124117973478E-2</c:v>
                </c:pt>
                <c:pt idx="21">
                  <c:v>1.4727339139488663E-2</c:v>
                </c:pt>
                <c:pt idx="22">
                  <c:v>1.7099139446428394E-2</c:v>
                </c:pt>
                <c:pt idx="23">
                  <c:v>6.1531282709133463E-3</c:v>
                </c:pt>
                <c:pt idx="24">
                  <c:v>8.0117396832876074E-3</c:v>
                </c:pt>
                <c:pt idx="25">
                  <c:v>4.6931004159296809E-3</c:v>
                </c:pt>
                <c:pt idx="26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A0D-4A96-A769-A4D5C4857E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023408"/>
        <c:axId val="194023800"/>
      </c:lineChart>
      <c:catAx>
        <c:axId val="19402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4023800"/>
        <c:crosses val="autoZero"/>
        <c:auto val="1"/>
        <c:lblAlgn val="ctr"/>
        <c:lblOffset val="100"/>
        <c:noMultiLvlLbl val="0"/>
      </c:catAx>
      <c:valAx>
        <c:axId val="194023800"/>
        <c:scaling>
          <c:orientation val="minMax"/>
          <c:max val="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402340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0"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5386514630996759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PROGRESSIVO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PROGRESSIVO'!$A$3:$F$29</c:f>
              <c:multiLvlStrCache>
                <c:ptCount val="27"/>
                <c:lvl>
                  <c:pt idx="0">
                    <c:v>Automobili</c:v>
                  </c:pt>
                  <c:pt idx="1">
                    <c:v>Varie</c:v>
                  </c:pt>
                  <c:pt idx="2">
                    <c:v>Media/Editoria</c:v>
                  </c:pt>
                  <c:pt idx="3">
                    <c:v>Servizi Professionali</c:v>
                  </c:pt>
                  <c:pt idx="4">
                    <c:v>Alimentari</c:v>
                  </c:pt>
                  <c:pt idx="5">
                    <c:v>Abbigliamento</c:v>
                  </c:pt>
                  <c:pt idx="6">
                    <c:v>Finanza/Assicurazioni</c:v>
                  </c:pt>
                  <c:pt idx="7">
                    <c:v>Telecomunicazioni</c:v>
                  </c:pt>
                  <c:pt idx="8">
                    <c:v>Distribuzione</c:v>
                  </c:pt>
                  <c:pt idx="9">
                    <c:v>Cura persona</c:v>
                  </c:pt>
                  <c:pt idx="10">
                    <c:v>Locale</c:v>
                  </c:pt>
                  <c:pt idx="11">
                    <c:v>Turismo/Viaggi</c:v>
                  </c:pt>
                  <c:pt idx="12">
                    <c:v>Tempo libero</c:v>
                  </c:pt>
                  <c:pt idx="13">
                    <c:v>Informatica/Fotografia</c:v>
                  </c:pt>
                  <c:pt idx="14">
                    <c:v>Farmaceutici/Sanitari</c:v>
                  </c:pt>
                  <c:pt idx="15">
                    <c:v>Industria/Edilizia/Attività</c:v>
                  </c:pt>
                  <c:pt idx="16">
                    <c:v>Enti/Istituzioni</c:v>
                  </c:pt>
                  <c:pt idx="17">
                    <c:v>Bevande/Alcoolici</c:v>
                  </c:pt>
                  <c:pt idx="18">
                    <c:v>Abitazione</c:v>
                  </c:pt>
                  <c:pt idx="19">
                    <c:v>Oggetti personali</c:v>
                  </c:pt>
                  <c:pt idx="20">
                    <c:v>Elettrodomestici</c:v>
                  </c:pt>
                  <c:pt idx="21">
                    <c:v>Gestione casa</c:v>
                  </c:pt>
                  <c:pt idx="22">
                    <c:v>Toiletries</c:v>
                  </c:pt>
                  <c:pt idx="23">
                    <c:v>Giochi/Articoli scolastici</c:v>
                  </c:pt>
                  <c:pt idx="24">
                    <c:v>Moto/Veicoli</c:v>
                  </c:pt>
                  <c:pt idx="25">
                    <c:v>Di Servizio</c:v>
                  </c:pt>
                  <c:pt idx="26">
                    <c:v>Rubricata</c:v>
                  </c:pt>
                </c:lvl>
                <c:lvl>
                  <c:pt idx="0">
                    <c:v>6%</c:v>
                  </c:pt>
                  <c:pt idx="1">
                    <c:v>1%</c:v>
                  </c:pt>
                  <c:pt idx="2">
                    <c:v>6%</c:v>
                  </c:pt>
                  <c:pt idx="3">
                    <c:v>15%</c:v>
                  </c:pt>
                  <c:pt idx="4">
                    <c:v>2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6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10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4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0%</c:v>
                  </c:pt>
                </c:lvl>
                <c:lvl>
                  <c:pt idx="0">
                    <c:v>5%</c:v>
                  </c:pt>
                  <c:pt idx="1">
                    <c:v>2%</c:v>
                  </c:pt>
                  <c:pt idx="2">
                    <c:v>6%</c:v>
                  </c:pt>
                  <c:pt idx="3">
                    <c:v>17%</c:v>
                  </c:pt>
                  <c:pt idx="4">
                    <c:v>2%</c:v>
                  </c:pt>
                  <c:pt idx="5">
                    <c:v>4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1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2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PROGRESSIVO'!$H$3:$H$29</c:f>
              <c:numCache>
                <c:formatCode>0.0%</c:formatCode>
                <c:ptCount val="27"/>
                <c:pt idx="0">
                  <c:v>0.15463526647823922</c:v>
                </c:pt>
                <c:pt idx="1">
                  <c:v>0.13720270934094653</c:v>
                </c:pt>
                <c:pt idx="2">
                  <c:v>9.652540866709193E-2</c:v>
                </c:pt>
                <c:pt idx="3">
                  <c:v>6.1937721189065695E-2</c:v>
                </c:pt>
                <c:pt idx="4">
                  <c:v>5.9775888793673022E-2</c:v>
                </c:pt>
                <c:pt idx="5">
                  <c:v>5.7533880184704983E-2</c:v>
                </c:pt>
                <c:pt idx="6">
                  <c:v>5.5587999755957462E-2</c:v>
                </c:pt>
                <c:pt idx="7">
                  <c:v>4.7570535604758657E-2</c:v>
                </c:pt>
                <c:pt idx="8">
                  <c:v>4.2449070247581738E-2</c:v>
                </c:pt>
                <c:pt idx="9">
                  <c:v>3.0302115961232709E-2</c:v>
                </c:pt>
                <c:pt idx="10">
                  <c:v>2.904067537482348E-2</c:v>
                </c:pt>
                <c:pt idx="11">
                  <c:v>2.6394960959789219E-2</c:v>
                </c:pt>
                <c:pt idx="12">
                  <c:v>2.5986099966568258E-2</c:v>
                </c:pt>
                <c:pt idx="13">
                  <c:v>2.3991313801473433E-2</c:v>
                </c:pt>
                <c:pt idx="14">
                  <c:v>2.3492530493807721E-2</c:v>
                </c:pt>
                <c:pt idx="15">
                  <c:v>2.274653308389335E-2</c:v>
                </c:pt>
                <c:pt idx="16">
                  <c:v>1.8964538097908764E-2</c:v>
                </c:pt>
                <c:pt idx="17">
                  <c:v>1.6163601341820523E-2</c:v>
                </c:pt>
                <c:pt idx="18">
                  <c:v>1.3984144705675406E-2</c:v>
                </c:pt>
                <c:pt idx="19">
                  <c:v>1.299968014912712E-2</c:v>
                </c:pt>
                <c:pt idx="20">
                  <c:v>1.2180246412299771E-2</c:v>
                </c:pt>
                <c:pt idx="21">
                  <c:v>1.0040219199411556E-2</c:v>
                </c:pt>
                <c:pt idx="22">
                  <c:v>6.4339431703874647E-3</c:v>
                </c:pt>
                <c:pt idx="23">
                  <c:v>5.071105089437789E-3</c:v>
                </c:pt>
                <c:pt idx="24">
                  <c:v>4.5437039003585773E-3</c:v>
                </c:pt>
                <c:pt idx="25">
                  <c:v>4.3448150112815167E-3</c:v>
                </c:pt>
                <c:pt idx="26">
                  <c:v>1.0129301868350583E-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845-447D-97D5-4B344C2B81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94024584"/>
        <c:axId val="194024976"/>
      </c:barChart>
      <c:lineChart>
        <c:grouping val="standard"/>
        <c:varyColors val="0"/>
        <c:ser>
          <c:idx val="0"/>
          <c:order val="0"/>
          <c:tx>
            <c:strRef>
              <c:f>'Grafico PROGRESSIVO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PROGRESSIVO'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Alimentari</c:v>
                </c:pt>
                <c:pt idx="5">
                  <c:v>Abbigliamento</c:v>
                </c:pt>
                <c:pt idx="6">
                  <c:v>Finanza/Assicurazioni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Locale</c:v>
                </c:pt>
                <c:pt idx="11">
                  <c:v>Turismo/Viaggi</c:v>
                </c:pt>
                <c:pt idx="12">
                  <c:v>Tempo libero</c:v>
                </c:pt>
                <c:pt idx="13">
                  <c:v>Informatica/Fotografia</c:v>
                </c:pt>
                <c:pt idx="14">
                  <c:v>Farmaceutici/Sanitari</c:v>
                </c:pt>
                <c:pt idx="15">
                  <c:v>Industria/Edilizia/Attività</c:v>
                </c:pt>
                <c:pt idx="16">
                  <c:v>Enti/Istituzioni</c:v>
                </c:pt>
                <c:pt idx="17">
                  <c:v>Bevande/Alcoolici</c:v>
                </c:pt>
                <c:pt idx="18">
                  <c:v>Abitazione</c:v>
                </c:pt>
                <c:pt idx="19">
                  <c:v>Oggetti personali</c:v>
                </c:pt>
                <c:pt idx="20">
                  <c:v>Elettrodomestici</c:v>
                </c:pt>
                <c:pt idx="21">
                  <c:v>Gestione casa</c:v>
                </c:pt>
                <c:pt idx="22">
                  <c:v>Toiletries</c:v>
                </c:pt>
                <c:pt idx="23">
                  <c:v>Giochi/Articoli scolastici</c:v>
                </c:pt>
                <c:pt idx="24">
                  <c:v>Moto/Veicoli</c:v>
                </c:pt>
                <c:pt idx="25">
                  <c:v>Di Servizio</c:v>
                </c:pt>
                <c:pt idx="26">
                  <c:v>Rubricata</c:v>
                </c:pt>
              </c:strCache>
            </c:strRef>
          </c:cat>
          <c:val>
            <c:numRef>
              <c:f>'Grafico PROGRESSIVO'!$G$3:$G$29</c:f>
              <c:numCache>
                <c:formatCode>0.0%</c:formatCode>
                <c:ptCount val="27"/>
                <c:pt idx="0">
                  <c:v>0.17270336393739627</c:v>
                </c:pt>
                <c:pt idx="1">
                  <c:v>0.1159288108301082</c:v>
                </c:pt>
                <c:pt idx="2">
                  <c:v>8.7646469437887495E-2</c:v>
                </c:pt>
                <c:pt idx="3">
                  <c:v>6.106029686056326E-2</c:v>
                </c:pt>
                <c:pt idx="4">
                  <c:v>6.3548423451323485E-2</c:v>
                </c:pt>
                <c:pt idx="5">
                  <c:v>5.222429466244119E-2</c:v>
                </c:pt>
                <c:pt idx="6">
                  <c:v>5.3711327999506647E-2</c:v>
                </c:pt>
                <c:pt idx="7">
                  <c:v>4.9305375994347769E-2</c:v>
                </c:pt>
                <c:pt idx="8">
                  <c:v>4.4153502053350981E-2</c:v>
                </c:pt>
                <c:pt idx="9">
                  <c:v>3.5795816608732434E-2</c:v>
                </c:pt>
                <c:pt idx="10">
                  <c:v>2.7561641038944377E-2</c:v>
                </c:pt>
                <c:pt idx="11">
                  <c:v>2.6396371043630875E-2</c:v>
                </c:pt>
                <c:pt idx="12">
                  <c:v>2.5682149195791606E-2</c:v>
                </c:pt>
                <c:pt idx="13">
                  <c:v>1.833631888886986E-2</c:v>
                </c:pt>
                <c:pt idx="14">
                  <c:v>2.3396371519064544E-2</c:v>
                </c:pt>
                <c:pt idx="15">
                  <c:v>2.3389284500316344E-2</c:v>
                </c:pt>
                <c:pt idx="16">
                  <c:v>2.0555457460899325E-2</c:v>
                </c:pt>
                <c:pt idx="17">
                  <c:v>1.6976936734042429E-2</c:v>
                </c:pt>
                <c:pt idx="18">
                  <c:v>1.5080164638939336E-2</c:v>
                </c:pt>
                <c:pt idx="19">
                  <c:v>1.3945283252861193E-2</c:v>
                </c:pt>
                <c:pt idx="20">
                  <c:v>1.3557162979730791E-2</c:v>
                </c:pt>
                <c:pt idx="21">
                  <c:v>1.2699067925717863E-2</c:v>
                </c:pt>
                <c:pt idx="22">
                  <c:v>8.7910348700472769E-3</c:v>
                </c:pt>
                <c:pt idx="23">
                  <c:v>6.3161002968001633E-3</c:v>
                </c:pt>
                <c:pt idx="24">
                  <c:v>5.854568824649335E-3</c:v>
                </c:pt>
                <c:pt idx="25">
                  <c:v>5.3116771352983167E-3</c:v>
                </c:pt>
                <c:pt idx="26">
                  <c:v>7.2727858738421338E-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845-447D-97D5-4B344C2B81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024584"/>
        <c:axId val="194024976"/>
      </c:lineChart>
      <c:catAx>
        <c:axId val="194024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4024976"/>
        <c:crosses val="autoZero"/>
        <c:auto val="1"/>
        <c:lblAlgn val="ctr"/>
        <c:lblOffset val="100"/>
        <c:noMultiLvlLbl val="0"/>
      </c:catAx>
      <c:valAx>
        <c:axId val="194024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4024584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Smartphon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1.4652006199990655E-2"/>
          <c:y val="0.16245370370370371"/>
          <c:w val="0.97802199070001405"/>
          <c:h val="0.6705398804316127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A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606-4767-B8F3-E1AFF4251B0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2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C606-4767-B8F3-E1AFF4251B0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B$11:$C$11</c:f>
              <c:numCache>
                <c:formatCode>0.00%</c:formatCode>
                <c:ptCount val="2"/>
                <c:pt idx="0">
                  <c:v>0.13759062774836123</c:v>
                </c:pt>
                <c:pt idx="1">
                  <c:v>0.114794062115375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06-4767-B8F3-E1AFF4251B0A}"/>
            </c:ext>
          </c:extLst>
        </c:ser>
        <c:ser>
          <c:idx val="1"/>
          <c:order val="1"/>
          <c:tx>
            <c:strRef>
              <c:f>Foglio3!$A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6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606-4767-B8F3-E1AFF4251B0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8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606-4767-B8F3-E1AFF4251B0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B$12:$C$12</c:f>
              <c:numCache>
                <c:formatCode>0.00%</c:formatCode>
                <c:ptCount val="2"/>
                <c:pt idx="0">
                  <c:v>0.86240937225163872</c:v>
                </c:pt>
                <c:pt idx="1">
                  <c:v>0.88520593788462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606-4767-B8F3-E1AFF4251B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3726752"/>
        <c:axId val="133727144"/>
      </c:barChart>
      <c:catAx>
        <c:axId val="133726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33727144"/>
        <c:crosses val="autoZero"/>
        <c:auto val="1"/>
        <c:lblAlgn val="ctr"/>
        <c:lblOffset val="100"/>
        <c:noMultiLvlLbl val="1"/>
      </c:catAx>
      <c:valAx>
        <c:axId val="13372714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33726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Desktop/Table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2.684034695903624E-2"/>
          <c:y val="0.16006985577408178"/>
          <c:w val="0.97315965304096363"/>
          <c:h val="0.64514363063584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E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BF4-49DD-8BC1-E304C688B12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BF4-49DD-8BC1-E304C688B12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F$11:$G$11</c:f>
              <c:numCache>
                <c:formatCode>0.00%</c:formatCode>
                <c:ptCount val="2"/>
                <c:pt idx="0">
                  <c:v>1.35898673543495E-2</c:v>
                </c:pt>
                <c:pt idx="1">
                  <c:v>8.2610679917210928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BF4-49DD-8BC1-E304C688B126}"/>
            </c:ext>
          </c:extLst>
        </c:ser>
        <c:ser>
          <c:idx val="1"/>
          <c:order val="1"/>
          <c:tx>
            <c:strRef>
              <c:f>Foglio3!$E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BF4-49DD-8BC1-E304C688B12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BF4-49DD-8BC1-E304C688B12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F$12:$G$12</c:f>
              <c:numCache>
                <c:formatCode>0.00%</c:formatCode>
                <c:ptCount val="2"/>
                <c:pt idx="0">
                  <c:v>0.98641013264565047</c:v>
                </c:pt>
                <c:pt idx="1">
                  <c:v>0.991738932008279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BF4-49DD-8BC1-E304C688B12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3727928"/>
        <c:axId val="133728320"/>
      </c:barChart>
      <c:catAx>
        <c:axId val="133727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33728320"/>
        <c:crosses val="autoZero"/>
        <c:auto val="1"/>
        <c:lblAlgn val="ctr"/>
        <c:lblOffset val="100"/>
        <c:noMultiLvlLbl val="1"/>
      </c:catAx>
      <c:valAx>
        <c:axId val="13372832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33727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</a:t>
            </a:r>
            <a:r>
              <a:rPr lang="it-IT" b="1" baseline="0"/>
              <a:t> % delle modalità di </a:t>
            </a:r>
            <a:r>
              <a:rPr lang="it-IT" b="1"/>
              <a:t>FRUIZIONE</a:t>
            </a:r>
          </a:p>
        </c:rich>
      </c:tx>
      <c:layout>
        <c:manualLayout>
          <c:xMode val="edge"/>
          <c:yMode val="edge"/>
          <c:x val="0.1898117841667569"/>
          <c:y val="8.805408209492302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5.9264101200888139E-2"/>
          <c:y val="5.3134963599308173E-2"/>
          <c:w val="0.65358553791887131"/>
          <c:h val="0.747791925406685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J$10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J$11:$J$12</c:f>
              <c:numCache>
                <c:formatCode>0.00%</c:formatCode>
                <c:ptCount val="2"/>
                <c:pt idx="0">
                  <c:v>4.9027719364437776E-2</c:v>
                </c:pt>
                <c:pt idx="1">
                  <c:v>3.07294189003261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10-4E6D-9B90-A2791ED5260E}"/>
            </c:ext>
          </c:extLst>
        </c:ser>
        <c:ser>
          <c:idx val="1"/>
          <c:order val="1"/>
          <c:tx>
            <c:strRef>
              <c:f>Foglio3!$K$10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K$11:$K$12</c:f>
              <c:numCache>
                <c:formatCode>0.00%</c:formatCode>
                <c:ptCount val="2"/>
                <c:pt idx="0">
                  <c:v>0.95097228063556227</c:v>
                </c:pt>
                <c:pt idx="1">
                  <c:v>0.969270581099673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10-4E6D-9B90-A2791ED526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1981400"/>
        <c:axId val="191981792"/>
      </c:barChart>
      <c:catAx>
        <c:axId val="191981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1981792"/>
        <c:crosses val="autoZero"/>
        <c:auto val="1"/>
        <c:lblAlgn val="ctr"/>
        <c:lblOffset val="100"/>
        <c:noMultiLvlLbl val="1"/>
      </c:catAx>
      <c:valAx>
        <c:axId val="19198179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1981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9404227647210435"/>
          <c:y val="0.33383615449743592"/>
          <c:w val="0.20190973857518937"/>
          <c:h val="0.301510442907140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 % delle Modalità di vendit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4.4362148830087253E-2"/>
          <c:y val="0.18611111111111112"/>
          <c:w val="0.91127570233982547"/>
          <c:h val="0.610511446485855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M$11</c:f>
              <c:strCache>
                <c:ptCount val="1"/>
                <c:pt idx="0">
                  <c:v>A 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N$11:$O$11</c:f>
              <c:numCache>
                <c:formatCode>0.00%</c:formatCode>
                <c:ptCount val="2"/>
                <c:pt idx="0">
                  <c:v>0.73356509166388517</c:v>
                </c:pt>
                <c:pt idx="1">
                  <c:v>0.735881143136517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7C-4775-BFD2-A0FDE1D2E465}"/>
            </c:ext>
          </c:extLst>
        </c:ser>
        <c:ser>
          <c:idx val="1"/>
          <c:order val="1"/>
          <c:tx>
            <c:strRef>
              <c:f>Foglio3!$M$12</c:f>
              <c:strCache>
                <c:ptCount val="1"/>
                <c:pt idx="0">
                  <c:v>A Performance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N$12:$O$12</c:f>
              <c:numCache>
                <c:formatCode>0.00%</c:formatCode>
                <c:ptCount val="2"/>
                <c:pt idx="0">
                  <c:v>9.4633723347536627E-2</c:v>
                </c:pt>
                <c:pt idx="1">
                  <c:v>7.363864767255799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87C-4775-BFD2-A0FDE1D2E465}"/>
            </c:ext>
          </c:extLst>
        </c:ser>
        <c:ser>
          <c:idx val="2"/>
          <c:order val="2"/>
          <c:tx>
            <c:strRef>
              <c:f>Foglio3!$M$13</c:f>
              <c:strCache>
                <c:ptCount val="1"/>
                <c:pt idx="0">
                  <c:v>A 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nov '18</c:v>
                </c:pt>
                <c:pt idx="1">
                  <c:v>nov '17</c:v>
                </c:pt>
              </c:strCache>
            </c:strRef>
          </c:cat>
          <c:val>
            <c:numRef>
              <c:f>Foglio3!$N$13:$O$13</c:f>
              <c:numCache>
                <c:formatCode>0.00%</c:formatCode>
                <c:ptCount val="2"/>
                <c:pt idx="0">
                  <c:v>0.17180118498857824</c:v>
                </c:pt>
                <c:pt idx="1">
                  <c:v>0.19048020919092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87C-4775-BFD2-A0FDE1D2E46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1982968"/>
        <c:axId val="191983360"/>
      </c:barChart>
      <c:catAx>
        <c:axId val="191982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1983360"/>
        <c:crosses val="autoZero"/>
        <c:auto val="1"/>
        <c:lblAlgn val="ctr"/>
        <c:lblOffset val="100"/>
        <c:noMultiLvlLbl val="0"/>
      </c:catAx>
      <c:valAx>
        <c:axId val="19198336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91982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FF4-4E18-A8F8-251A6A5DF4EC}"/>
            </c:ext>
          </c:extLst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FF4-4E18-A8F8-251A6A5DF4EC}"/>
            </c:ext>
          </c:extLst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FF4-4E18-A8F8-251A6A5DF4E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DFF4-4E18-A8F8-251A6A5DF4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91984144"/>
        <c:axId val="191984536"/>
      </c:barChart>
      <c:catAx>
        <c:axId val="19198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1984536"/>
        <c:crosses val="autoZero"/>
        <c:auto val="1"/>
        <c:lblAlgn val="ctr"/>
        <c:lblOffset val="100"/>
        <c:noMultiLvlLbl val="0"/>
      </c:catAx>
      <c:valAx>
        <c:axId val="1919845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1984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99272318051194319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509739025451903E-2"/>
          <c:y val="3.4870088328404845E-2"/>
          <c:w val="0.87612061555095566"/>
          <c:h val="0.7973199204552631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3677609397164512</c:v>
                </c:pt>
                <c:pt idx="1">
                  <c:v>0</c:v>
                </c:pt>
                <c:pt idx="2" formatCode="0%">
                  <c:v>0.722509045364483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430-4265-A966-88670E06724A}"/>
            </c:ext>
          </c:extLst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9597101528943511</c:v>
                </c:pt>
                <c:pt idx="1">
                  <c:v>0</c:v>
                </c:pt>
                <c:pt idx="2" formatCode="0%">
                  <c:v>0.200486106770475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430-4265-A966-88670E06724A}"/>
            </c:ext>
          </c:extLst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8430-4265-A966-88670E06724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6.7252890738919754E-2</c:v>
                </c:pt>
                <c:pt idx="1">
                  <c:v>0</c:v>
                </c:pt>
                <c:pt idx="2" formatCode="0%">
                  <c:v>7.700484786504031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8430-4265-A966-88670E06724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92919824"/>
        <c:axId val="192920216"/>
      </c:barChart>
      <c:catAx>
        <c:axId val="192919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192920216"/>
        <c:crosses val="autoZero"/>
        <c:auto val="1"/>
        <c:lblAlgn val="ctr"/>
        <c:lblOffset val="100"/>
        <c:tickLblSkip val="1"/>
        <c:noMultiLvlLbl val="1"/>
      </c:catAx>
      <c:valAx>
        <c:axId val="192920216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19291982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F49-4521-AB57-A8604F3719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F49-4521-AB57-A8604F3719F4}"/>
            </c:ext>
          </c:extLst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F49-4521-AB57-A8604F3719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F49-4521-AB57-A8604F3719F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92921000"/>
        <c:axId val="192921392"/>
      </c:barChart>
      <c:catAx>
        <c:axId val="192921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192921392"/>
        <c:crosses val="autoZero"/>
        <c:auto val="1"/>
        <c:lblAlgn val="ctr"/>
        <c:lblOffset val="100"/>
        <c:noMultiLvlLbl val="0"/>
      </c:catAx>
      <c:valAx>
        <c:axId val="192921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2921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89057252932096831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97346860610334"/>
          <c:y val="2.6740645219249896E-2"/>
          <c:w val="0.81577347219437846"/>
          <c:h val="0.76824774143316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9EC-4B78-B7DD-E9F744072B0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2734147489437564</c:v>
                </c:pt>
                <c:pt idx="1">
                  <c:v>0</c:v>
                </c:pt>
                <c:pt idx="2" formatCode="0%">
                  <c:v>0.186420435294736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9EC-4B78-B7DD-E9F744072B02}"/>
            </c:ext>
          </c:extLst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E5C-41D0-B441-35562B55682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9909875508605268E-2</c:v>
                </c:pt>
                <c:pt idx="1">
                  <c:v>0</c:v>
                </c:pt>
                <c:pt idx="2" formatCode="0%">
                  <c:v>5.517462523501232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9EC-4B78-B7DD-E9F744072B02}"/>
            </c:ext>
          </c:extLst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9EC-4B78-B7DD-E9F744072B0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4274864959701925</c:v>
                </c:pt>
                <c:pt idx="1">
                  <c:v>0</c:v>
                </c:pt>
                <c:pt idx="2" formatCode="0%">
                  <c:v>0.758404939470250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9EC-4B78-B7DD-E9F744072B0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92922176"/>
        <c:axId val="192922568"/>
      </c:barChart>
      <c:catAx>
        <c:axId val="19292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192922568"/>
        <c:crosses val="autoZero"/>
        <c:auto val="1"/>
        <c:lblAlgn val="ctr"/>
        <c:lblOffset val="100"/>
        <c:tickLblSkip val="1"/>
        <c:noMultiLvlLbl val="1"/>
      </c:catAx>
      <c:valAx>
        <c:axId val="192922568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1929221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2822849828669398E-3"/>
          <c:y val="0.89106988783434005"/>
          <c:w val="0.99871771501713302"/>
          <c:h val="8.5160753583728557E-2"/>
        </c:manualLayout>
      </c:layout>
      <c:overlay val="0"/>
      <c:txPr>
        <a:bodyPr/>
        <a:lstStyle/>
        <a:p>
          <a:pPr>
            <a:defRPr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181</cdr:x>
      <cdr:y>0.00469</cdr:y>
    </cdr:from>
    <cdr:to>
      <cdr:x>0.65063</cdr:x>
      <cdr:y>0.93837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1985062" y="18780"/>
          <a:ext cx="1005926" cy="37406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5781</cdr:x>
      <cdr:y>0</cdr:y>
    </cdr:from>
    <cdr:to>
      <cdr:x>0.61373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14027" y="0"/>
          <a:ext cx="720000" cy="370954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17/12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17/12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57309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NOVEMBRE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0 dicembre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31274"/>
            <a:ext cx="12192000" cy="350821"/>
          </a:xfrm>
        </p:spPr>
        <p:txBody>
          <a:bodyPr/>
          <a:lstStyle/>
          <a:p>
            <a:r>
              <a:rPr lang="it-IT" sz="1400" i="1" dirty="0" smtClean="0"/>
              <a:t>PESO % SUL TOTALE DEGLI INVESTIMENTI NETTI nel mese di NOVEMBRE 2018 PER SETTORE MERCEOLOGICO </a:t>
            </a:r>
            <a:endParaRPr lang="it-IT" sz="1400" i="1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457200" y="624517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052230"/>
              </p:ext>
            </p:extLst>
          </p:nvPr>
        </p:nvGraphicFramePr>
        <p:xfrm>
          <a:off x="727166" y="857008"/>
          <a:ext cx="10737669" cy="5282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42040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2" grpId="0"/>
      <p:bldGraphic spid="5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355227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 NOVEMBRE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457200" y="619392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8429690"/>
              </p:ext>
            </p:extLst>
          </p:nvPr>
        </p:nvGraphicFramePr>
        <p:xfrm>
          <a:off x="775252" y="843401"/>
          <a:ext cx="10641496" cy="5333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9" grpId="0"/>
      <p:bldGraphic spid="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29826"/>
              </p:ext>
            </p:extLst>
          </p:nvPr>
        </p:nvGraphicFramePr>
        <p:xfrm>
          <a:off x="1404038" y="255036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145524">
                <a:tc gridSpan="2">
                  <a:txBody>
                    <a:bodyPr/>
                    <a:lstStyle/>
                    <a:p>
                      <a:pPr algn="l" rtl="0" fontAlgn="ctr"/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864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it-IT" sz="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</a:t>
                      </a:r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1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 smtClean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</a:tbl>
          </a:graphicData>
        </a:graphic>
      </p:graphicFrame>
      <p:sp>
        <p:nvSpPr>
          <p:cNvPr id="10" name="Sottotitolo 3"/>
          <p:cNvSpPr txBox="1">
            <a:spLocks/>
          </p:cNvSpPr>
          <p:nvPr/>
        </p:nvSpPr>
        <p:spPr>
          <a:xfrm>
            <a:off x="428064" y="-79222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552054"/>
              </p:ext>
            </p:extLst>
          </p:nvPr>
        </p:nvGraphicFramePr>
        <p:xfrm>
          <a:off x="1404038" y="268483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220570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898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12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79222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011863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NOVEMBRE 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Nessuno</a:t>
                      </a:r>
                      <a:endParaRPr lang="de-DE" sz="1800" b="0" i="0" dirty="0" smtClean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170291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NOVEMBRE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www.gioia.it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58845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0127194"/>
              </p:ext>
            </p:extLst>
          </p:nvPr>
        </p:nvGraphicFramePr>
        <p:xfrm>
          <a:off x="153845" y="507729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80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009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737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3938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404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2058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3882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5836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3060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8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7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5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3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0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4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7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7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10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1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6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53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09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76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16.2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6.7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3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23.71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1288129" y="6159261"/>
            <a:ext cx="6117262" cy="626701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36000" rIns="108000" bIns="36000" anchor="ctr">
            <a:spAutoFit/>
          </a:bodyPr>
          <a:lstStyle/>
          <a:p>
            <a:pPr algn="ctr"/>
            <a:r>
              <a:rPr lang="it-IT" sz="1200" b="1" dirty="0" smtClean="0">
                <a:cs typeface="Arial" panose="020B0604020202020204" pitchFamily="34" charset="0"/>
              </a:rPr>
              <a:t>Oltre l’80% </a:t>
            </a:r>
            <a:r>
              <a:rPr lang="it-IT" sz="1200" b="1" dirty="0">
                <a:cs typeface="Arial" panose="020B0604020202020204" pitchFamily="34" charset="0"/>
              </a:rPr>
              <a:t>delle </a:t>
            </a:r>
            <a:r>
              <a:rPr lang="it-IT" sz="1200" b="1" dirty="0" smtClean="0">
                <a:cs typeface="Arial" panose="020B0604020202020204" pitchFamily="34" charset="0"/>
              </a:rPr>
              <a:t>Aziende </a:t>
            </a:r>
            <a:r>
              <a:rPr lang="it-IT" sz="1200" b="1" dirty="0">
                <a:cs typeface="Arial" panose="020B0604020202020204" pitchFamily="34" charset="0"/>
              </a:rPr>
              <a:t>dichiaranti ha un dato </a:t>
            </a:r>
            <a:r>
              <a:rPr lang="it-IT" sz="1200" b="1" dirty="0" smtClean="0">
                <a:cs typeface="Arial" panose="020B0604020202020204" pitchFamily="34" charset="0"/>
              </a:rPr>
              <a:t>positivo nel mese di Novembre 2018 per Smartphone rispetto lo stesso mese dell’anno precedente.  </a:t>
            </a:r>
          </a:p>
          <a:p>
            <a:pPr algn="ctr"/>
            <a:r>
              <a:rPr lang="it-IT" sz="1200" b="1" dirty="0" smtClean="0">
                <a:cs typeface="Arial" panose="020B0604020202020204" pitchFamily="34" charset="0"/>
              </a:rPr>
              <a:t>La quota di investimenti su Smart Tv/Console cresce per tutte le dichiaranti.</a:t>
            </a:r>
            <a:endParaRPr lang="it-IT" sz="1200" b="1" dirty="0"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8397248" y="517933"/>
            <a:ext cx="3624333" cy="5835520"/>
            <a:chOff x="8397248" y="517933"/>
            <a:chExt cx="3624333" cy="5835520"/>
          </a:xfrm>
        </p:grpSpPr>
        <p:graphicFrame>
          <p:nvGraphicFramePr>
            <p:cNvPr id="17" name="Grafico 1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35706565"/>
                </p:ext>
              </p:extLst>
            </p:nvPr>
          </p:nvGraphicFramePr>
          <p:xfrm>
            <a:off x="8518667" y="517933"/>
            <a:ext cx="3419481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" name="Rettangolo 1"/>
            <p:cNvSpPr/>
            <p:nvPr/>
          </p:nvSpPr>
          <p:spPr>
            <a:xfrm>
              <a:off x="8513871" y="517933"/>
              <a:ext cx="34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1"/>
            <p:cNvSpPr txBox="1"/>
            <p:nvPr/>
          </p:nvSpPr>
          <p:spPr>
            <a:xfrm>
              <a:off x="9213437" y="1345767"/>
              <a:ext cx="4965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0,3</a:t>
              </a:r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%</a:t>
              </a:r>
              <a:endParaRPr lang="it-IT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CasellaDiTesto 1"/>
            <p:cNvSpPr txBox="1"/>
            <p:nvPr/>
          </p:nvSpPr>
          <p:spPr>
            <a:xfrm>
              <a:off x="10826955" y="1260524"/>
              <a:ext cx="4965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1%</a:t>
              </a:r>
              <a:endParaRPr lang="it-IT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0282148" y="3435693"/>
              <a:ext cx="16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8518667" y="3442950"/>
              <a:ext cx="16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19" name="Grafico 1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28005317"/>
                </p:ext>
              </p:extLst>
            </p:nvPr>
          </p:nvGraphicFramePr>
          <p:xfrm>
            <a:off x="8397248" y="3489266"/>
            <a:ext cx="1898838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21" name="Grafico 2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67250881"/>
                </p:ext>
              </p:extLst>
            </p:nvPr>
          </p:nvGraphicFramePr>
          <p:xfrm>
            <a:off x="10128908" y="3489266"/>
            <a:ext cx="1892673" cy="28641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766252"/>
              </p:ext>
            </p:extLst>
          </p:nvPr>
        </p:nvGraphicFramePr>
        <p:xfrm>
          <a:off x="371830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249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249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49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496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5298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5607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1529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8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4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2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9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9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8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9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4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7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04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6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1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8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76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04.83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.88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23.71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  <p:grpSp>
        <p:nvGrpSpPr>
          <p:cNvPr id="6" name="Gruppo 5"/>
          <p:cNvGrpSpPr/>
          <p:nvPr/>
        </p:nvGrpSpPr>
        <p:grpSpPr>
          <a:xfrm>
            <a:off x="7498789" y="570027"/>
            <a:ext cx="4549737" cy="5709450"/>
            <a:chOff x="7498789" y="570027"/>
            <a:chExt cx="4549737" cy="5709450"/>
          </a:xfrm>
        </p:grpSpPr>
        <p:grpSp>
          <p:nvGrpSpPr>
            <p:cNvPr id="5" name="Gruppo 4"/>
            <p:cNvGrpSpPr/>
            <p:nvPr/>
          </p:nvGrpSpPr>
          <p:grpSpPr>
            <a:xfrm>
              <a:off x="7498789" y="613183"/>
              <a:ext cx="4549737" cy="5666294"/>
              <a:chOff x="7498789" y="841782"/>
              <a:chExt cx="4549737" cy="5666294"/>
            </a:xfrm>
          </p:grpSpPr>
          <p:sp>
            <p:nvSpPr>
              <p:cNvPr id="9" name="Rettangolo 8"/>
              <p:cNvSpPr/>
              <p:nvPr/>
            </p:nvSpPr>
            <p:spPr>
              <a:xfrm>
                <a:off x="7512526" y="3323710"/>
                <a:ext cx="4536000" cy="1726215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OWSING</a:t>
                </a: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 76% </a:t>
                </a:r>
                <a:r>
                  <a:rPr lang="it-IT" sz="1300" dirty="0">
                    <a:cs typeface="Arial" panose="020B0604020202020204" pitchFamily="34" charset="0"/>
                  </a:rPr>
                  <a:t>dell’erogato è generato da</a:t>
                </a:r>
                <a:r>
                  <a:rPr lang="it-IT" sz="1300" b="1" dirty="0">
                    <a:cs typeface="Arial" panose="020B0604020202020204" pitchFamily="34" charset="0"/>
                  </a:rPr>
                  <a:t>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Desktop/Tablet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81% a novembre 2017) ed il restante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24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da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Smartphone</a:t>
                </a:r>
                <a:r>
                  <a:rPr lang="it-IT" sz="1300" dirty="0" smtClean="0">
                    <a:cs typeface="Arial" panose="020B0604020202020204" pitchFamily="34" charset="0"/>
                  </a:rPr>
                  <a:t> (19% a novembre 2017)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 smtClean="0">
                  <a:solidFill>
                    <a:srgbClr val="FF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latin typeface="+mj-lt"/>
                    <a:cs typeface="Arial" panose="020B0604020202020204" pitchFamily="34" charset="0"/>
                  </a:rPr>
                  <a:t>58% è erogato su Banner </a:t>
                </a: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(allineato a novembre 2017) e </a:t>
                </a:r>
                <a:r>
                  <a:rPr lang="it-IT" sz="500" dirty="0" smtClean="0"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22% su Video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26% a novembre 2017)</a:t>
                </a:r>
                <a:endParaRPr lang="it-IT" sz="1300" b="1" dirty="0" smtClean="0"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" name="Rettangolo 9"/>
              <p:cNvSpPr/>
              <p:nvPr/>
            </p:nvSpPr>
            <p:spPr>
              <a:xfrm>
                <a:off x="7512526" y="5135805"/>
                <a:ext cx="4536000" cy="1372271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endParaRPr lang="it-IT" sz="500" b="1" dirty="0" smtClean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dato di novembre è positivo per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50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delle Aziende dichiaranti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42% </a:t>
                </a:r>
                <a:r>
                  <a:rPr lang="it-IT" sz="1300" dirty="0" smtClean="0">
                    <a:cs typeface="Arial" panose="020B0604020202020204" pitchFamily="34" charset="0"/>
                  </a:rPr>
                  <a:t>è erogato su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Banner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48% a novembre 2017) e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53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su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Video</a:t>
                </a:r>
                <a:r>
                  <a:rPr lang="it-IT" sz="1300" dirty="0" smtClean="0">
                    <a:cs typeface="Arial" panose="020B0604020202020204" pitchFamily="34" charset="0"/>
                  </a:rPr>
                  <a:t> (</a:t>
                </a:r>
                <a:r>
                  <a:rPr lang="it-IT" sz="1300" dirty="0">
                    <a:cs typeface="Arial" panose="020B0604020202020204" pitchFamily="34" charset="0"/>
                  </a:rPr>
                  <a:t>4</a:t>
                </a:r>
                <a:r>
                  <a:rPr lang="it-IT" sz="1300" dirty="0" smtClean="0">
                    <a:cs typeface="Arial" panose="020B0604020202020204" pitchFamily="34" charset="0"/>
                  </a:rPr>
                  <a:t>8% a novembre 2017)</a:t>
                </a:r>
                <a:endParaRPr lang="it-IT" sz="500" b="1" dirty="0">
                  <a:cs typeface="Arial" panose="020B0604020202020204" pitchFamily="34" charset="0"/>
                </a:endParaRPr>
              </a:p>
            </p:txBody>
          </p:sp>
          <p:sp>
            <p:nvSpPr>
              <p:cNvPr id="15" name="Rettangolo 14"/>
              <p:cNvSpPr/>
              <p:nvPr/>
            </p:nvSpPr>
            <p:spPr>
              <a:xfrm>
                <a:off x="7498789" y="841782"/>
                <a:ext cx="4536000" cy="2376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11" name="Grafico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42001120"/>
                </p:ext>
              </p:extLst>
            </p:nvPr>
          </p:nvGraphicFramePr>
          <p:xfrm>
            <a:off x="7498789" y="570027"/>
            <a:ext cx="4536000" cy="26775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211580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149485"/>
              </p:ext>
            </p:extLst>
          </p:nvPr>
        </p:nvGraphicFramePr>
        <p:xfrm>
          <a:off x="336885" y="834190"/>
          <a:ext cx="8106855" cy="5530661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386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29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213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2136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2136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6808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3701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93046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9893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2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6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7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4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8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9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4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7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2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6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6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7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0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9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76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09.39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0.2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4.0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23.71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  <p:grpSp>
        <p:nvGrpSpPr>
          <p:cNvPr id="6" name="Gruppo 5"/>
          <p:cNvGrpSpPr/>
          <p:nvPr/>
        </p:nvGrpSpPr>
        <p:grpSpPr>
          <a:xfrm>
            <a:off x="8654551" y="741636"/>
            <a:ext cx="3174908" cy="5604989"/>
            <a:chOff x="8654551" y="486143"/>
            <a:chExt cx="3174908" cy="5604989"/>
          </a:xfrm>
        </p:grpSpPr>
        <p:sp>
          <p:nvSpPr>
            <p:cNvPr id="8" name="Rettangolo 7"/>
            <p:cNvSpPr/>
            <p:nvPr/>
          </p:nvSpPr>
          <p:spPr>
            <a:xfrm>
              <a:off x="8661459" y="3368637"/>
              <a:ext cx="3168000" cy="1172217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ESSION</a:t>
              </a: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 algn="just">
                <a:buFont typeface="Wingdings" panose="05000000000000000000" pitchFamily="2" charset="2"/>
                <a:buChar char="ü"/>
              </a:pPr>
              <a:endParaRPr lang="it-IT" sz="500" dirty="0" smtClean="0">
                <a:solidFill>
                  <a:srgbClr val="FF0000"/>
                </a:solidFill>
                <a:cs typeface="Arial" panose="020B0604020202020204" pitchFamily="34" charset="0"/>
              </a:endParaRPr>
            </a:p>
            <a:p>
              <a:pPr algn="just"/>
              <a:r>
                <a:rPr lang="it-IT" sz="1300" dirty="0" smtClean="0">
                  <a:cs typeface="Arial" panose="020B0604020202020204" pitchFamily="34" charset="0"/>
                </a:rPr>
                <a:t>Il </a:t>
              </a:r>
              <a:r>
                <a:rPr lang="it-IT" sz="1300" b="1" dirty="0" smtClean="0">
                  <a:cs typeface="Arial" panose="020B0604020202020204" pitchFamily="34" charset="0"/>
                </a:rPr>
                <a:t>60% </a:t>
              </a:r>
              <a:r>
                <a:rPr lang="it-IT" sz="1300" dirty="0" smtClean="0">
                  <a:cs typeface="Arial" panose="020B0604020202020204" pitchFamily="34" charset="0"/>
                </a:rPr>
                <a:t>delle </a:t>
              </a:r>
              <a:r>
                <a:rPr lang="it-IT" sz="1300" dirty="0">
                  <a:cs typeface="Arial" panose="020B0604020202020204" pitchFamily="34" charset="0"/>
                </a:rPr>
                <a:t>Concessionarie dichiara un</a:t>
              </a:r>
              <a:r>
                <a:rPr lang="it-IT" sz="1300" b="1" dirty="0">
                  <a:cs typeface="Arial" panose="020B0604020202020204" pitchFamily="34" charset="0"/>
                </a:rPr>
                <a:t> dato </a:t>
              </a:r>
              <a:r>
                <a:rPr lang="it-IT" sz="1300" b="1" dirty="0" smtClean="0">
                  <a:cs typeface="Arial" panose="020B0604020202020204" pitchFamily="34" charset="0"/>
                </a:rPr>
                <a:t>più alto rispetto allo stesso mese dell’anno precedente</a:t>
              </a:r>
              <a:endParaRPr lang="it-IT" sz="500" dirty="0" smtClean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9" name="Rettangolo 8"/>
            <p:cNvSpPr/>
            <p:nvPr/>
          </p:nvSpPr>
          <p:spPr>
            <a:xfrm>
              <a:off x="8661459" y="4626528"/>
              <a:ext cx="3168000" cy="1464604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FORMANCE</a:t>
              </a:r>
            </a:p>
            <a:p>
              <a:pPr algn="just"/>
              <a:endParaRPr lang="it-IT" sz="500" b="1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endParaRPr lang="it-IT" sz="500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Cala il venduto su Desktop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84% a novembre 2018 verso l’88% del 2017) 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a favore di Smartphone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16% a novembre 2018 verso l’11% del 2017).</a:t>
              </a:r>
            </a:p>
            <a:p>
              <a:pPr algn="just"/>
              <a:endParaRPr lang="it-IT" sz="500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" name="Rettangolo 6"/>
            <p:cNvSpPr/>
            <p:nvPr/>
          </p:nvSpPr>
          <p:spPr>
            <a:xfrm>
              <a:off x="8654551" y="486143"/>
              <a:ext cx="3168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11" name="Grafico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25718393"/>
                </p:ext>
              </p:extLst>
            </p:nvPr>
          </p:nvGraphicFramePr>
          <p:xfrm>
            <a:off x="8673470" y="584502"/>
            <a:ext cx="3149081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63071" y="624650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aphicFrame>
        <p:nvGraphicFramePr>
          <p:cNvPr id="13" name="Gra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0106412"/>
              </p:ext>
            </p:extLst>
          </p:nvPr>
        </p:nvGraphicFramePr>
        <p:xfrm>
          <a:off x="637716" y="1577672"/>
          <a:ext cx="5826584" cy="4329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" name="Gruppo 1"/>
          <p:cNvGrpSpPr/>
          <p:nvPr/>
        </p:nvGrpSpPr>
        <p:grpSpPr>
          <a:xfrm>
            <a:off x="6906317" y="1025882"/>
            <a:ext cx="4680000" cy="4881743"/>
            <a:chOff x="6906317" y="1025882"/>
            <a:chExt cx="4680000" cy="4881743"/>
          </a:xfrm>
        </p:grpSpPr>
        <p:sp>
          <p:nvSpPr>
            <p:cNvPr id="15" name="Rettangolo 14"/>
            <p:cNvSpPr/>
            <p:nvPr/>
          </p:nvSpPr>
          <p:spPr>
            <a:xfrm>
              <a:off x="6906317" y="1025882"/>
              <a:ext cx="4680000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2" name="Grafico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49122050"/>
                </p:ext>
              </p:extLst>
            </p:nvPr>
          </p:nvGraphicFramePr>
          <p:xfrm>
            <a:off x="6906317" y="1577672"/>
            <a:ext cx="4597077" cy="40062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Rettangolo 4"/>
            <p:cNvSpPr/>
            <p:nvPr/>
          </p:nvSpPr>
          <p:spPr>
            <a:xfrm>
              <a:off x="7578670" y="5556423"/>
              <a:ext cx="352860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000" b="1" i="1" dirty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I dati sono consultabili alla Tavola IV del report</a:t>
              </a:r>
              <a:endPara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  <p:bldGraphic spid="13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650319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449316"/>
              </p:ext>
            </p:extLst>
          </p:nvPr>
        </p:nvGraphicFramePr>
        <p:xfrm>
          <a:off x="173823" y="401241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07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93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6307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559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937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2937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2937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2937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4981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76916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623286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663071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64981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70727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116842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623286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689595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5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3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5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1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4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7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6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62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7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764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2.28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5.77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3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49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7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.39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.7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23.71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  <p:sp>
        <p:nvSpPr>
          <p:cNvPr id="9" name="Rettangolo 8"/>
          <p:cNvSpPr/>
          <p:nvPr/>
        </p:nvSpPr>
        <p:spPr>
          <a:xfrm>
            <a:off x="104866" y="5318228"/>
            <a:ext cx="3619768" cy="1242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NER</a:t>
            </a: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 novembre il 57% degli investimenti è erogato su Banner (58% nello stesso mese del 2017). </a:t>
            </a: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Cala l’erogato su Desktop/Tablet a favore di Smartphone che cresce di 7 punti percentuali.</a:t>
            </a:r>
            <a:endParaRPr lang="it-IT" sz="200" dirty="0"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801197" y="5318228"/>
            <a:ext cx="4569192" cy="1242254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 novembre rappresenta il 24% degli investimenti pubblicitari totali.</a:t>
            </a:r>
          </a:p>
          <a:p>
            <a:pPr algn="just"/>
            <a:endParaRPr lang="it-IT" sz="300" dirty="0" smtClean="0"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Cresce l’erogato su Smartphone (27% a novembre 2018 verso il 20% di novembre 2017) a scapito dell’erogato su Desktop/Tablet (72% a novembre 2018 </a:t>
            </a:r>
            <a:r>
              <a:rPr lang="it-IT" sz="1200" dirty="0">
                <a:cs typeface="Arial" panose="020B0604020202020204" pitchFamily="34" charset="0"/>
              </a:rPr>
              <a:t>verso </a:t>
            </a:r>
            <a:r>
              <a:rPr lang="it-IT" sz="1200" dirty="0" smtClean="0">
                <a:cs typeface="Arial" panose="020B0604020202020204" pitchFamily="34" charset="0"/>
              </a:rPr>
              <a:t>il 79% </a:t>
            </a:r>
            <a:r>
              <a:rPr lang="it-IT" sz="1200" dirty="0">
                <a:cs typeface="Arial" panose="020B0604020202020204" pitchFamily="34" charset="0"/>
              </a:rPr>
              <a:t>di </a:t>
            </a:r>
            <a:r>
              <a:rPr lang="it-IT" sz="1200" dirty="0" smtClean="0">
                <a:cs typeface="Arial" panose="020B0604020202020204" pitchFamily="34" charset="0"/>
              </a:rPr>
              <a:t>novembre 2017).</a:t>
            </a:r>
            <a:endParaRPr lang="it-IT" sz="1200" dirty="0"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8457123" y="5318228"/>
            <a:ext cx="3600000" cy="1242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E</a:t>
            </a:r>
            <a:endParaRPr lang="it-IT" sz="13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 novembre 2018 </a:t>
            </a:r>
            <a:r>
              <a:rPr lang="it-IT" sz="1200" dirty="0">
                <a:cs typeface="Arial" panose="020B0604020202020204" pitchFamily="34" charset="0"/>
              </a:rPr>
              <a:t>r</a:t>
            </a:r>
            <a:r>
              <a:rPr lang="it-IT" sz="1200" dirty="0" smtClean="0">
                <a:cs typeface="Arial" panose="020B0604020202020204" pitchFamily="34" charset="0"/>
              </a:rPr>
              <a:t>appresenta poco più dell’11</a:t>
            </a:r>
            <a:r>
              <a:rPr lang="it-IT" sz="1200" b="1" dirty="0" smtClean="0">
                <a:cs typeface="Arial" panose="020B0604020202020204" pitchFamily="34" charset="0"/>
              </a:rPr>
              <a:t>%</a:t>
            </a:r>
            <a:r>
              <a:rPr lang="it-IT" sz="1200" dirty="0" smtClean="0">
                <a:cs typeface="Arial" panose="020B0604020202020204" pitchFamily="34" charset="0"/>
              </a:rPr>
              <a:t> </a:t>
            </a:r>
            <a:r>
              <a:rPr lang="it-IT" sz="1200" dirty="0">
                <a:cs typeface="Arial" panose="020B0604020202020204" pitchFamily="34" charset="0"/>
              </a:rPr>
              <a:t>del totale </a:t>
            </a:r>
            <a:r>
              <a:rPr lang="it-IT" sz="1200" dirty="0" smtClean="0">
                <a:cs typeface="Arial" panose="020B0604020202020204" pitchFamily="34" charset="0"/>
              </a:rPr>
              <a:t>investimenti. </a:t>
            </a:r>
            <a:endParaRPr lang="it-IT" sz="500" dirty="0" smtClean="0"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L’erogazione viene affidata per il 74% a Desktop/Tablet, dato in calo rispetto a novembre 2017 (78%).</a:t>
            </a:r>
            <a:endParaRPr lang="it-IT" sz="12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1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737276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 NOVEMBRE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0600407"/>
              </p:ext>
            </p:extLst>
          </p:nvPr>
        </p:nvGraphicFramePr>
        <p:xfrm>
          <a:off x="657899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5663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41936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82510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809823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809823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1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0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8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1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1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6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5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08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4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62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3.25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.41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09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5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5.77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6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086344"/>
            <a:ext cx="107442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b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</a:br>
            <a:endParaRPr lang="it-IT" sz="700" i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  <a:p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at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sono consultabili alla Tavola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VII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report</a:t>
            </a: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0754579"/>
              </p:ext>
            </p:extLst>
          </p:nvPr>
        </p:nvGraphicFramePr>
        <p:xfrm>
          <a:off x="703635" y="1454055"/>
          <a:ext cx="5629930" cy="438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uppo 5"/>
          <p:cNvGrpSpPr/>
          <p:nvPr/>
        </p:nvGrpSpPr>
        <p:grpSpPr>
          <a:xfrm>
            <a:off x="6333566" y="980426"/>
            <a:ext cx="5127812" cy="4881743"/>
            <a:chOff x="6333566" y="980426"/>
            <a:chExt cx="5127812" cy="4881743"/>
          </a:xfrm>
        </p:grpSpPr>
        <p:sp>
          <p:nvSpPr>
            <p:cNvPr id="18" name="Rettangolo 17"/>
            <p:cNvSpPr/>
            <p:nvPr/>
          </p:nvSpPr>
          <p:spPr>
            <a:xfrm>
              <a:off x="6535271" y="980426"/>
              <a:ext cx="4926106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1" name="Grafico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12635617"/>
                </p:ext>
              </p:extLst>
            </p:nvPr>
          </p:nvGraphicFramePr>
          <p:xfrm>
            <a:off x="6333566" y="1454055"/>
            <a:ext cx="5127812" cy="42743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  <p:bldGraphic spid="1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14290</TotalTime>
  <Words>2743</Words>
  <Application>Microsoft Office PowerPoint</Application>
  <PresentationFormat>Widescreen</PresentationFormat>
  <Paragraphs>1514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548</cp:revision>
  <cp:lastPrinted>2018-12-17T11:32:21Z</cp:lastPrinted>
  <dcterms:created xsi:type="dcterms:W3CDTF">2017-09-15T07:09:01Z</dcterms:created>
  <dcterms:modified xsi:type="dcterms:W3CDTF">2018-12-17T19:09:37Z</dcterms:modified>
  <cp:category/>
</cp:coreProperties>
</file>